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22"/>
  </p:notesMasterIdLst>
  <p:handoutMasterIdLst>
    <p:handoutMasterId r:id="rId23"/>
  </p:handoutMasterIdLst>
  <p:sldIdLst>
    <p:sldId id="303" r:id="rId3"/>
    <p:sldId id="370" r:id="rId4"/>
    <p:sldId id="372" r:id="rId5"/>
    <p:sldId id="375" r:id="rId6"/>
    <p:sldId id="373" r:id="rId7"/>
    <p:sldId id="376" r:id="rId8"/>
    <p:sldId id="353" r:id="rId9"/>
    <p:sldId id="355" r:id="rId10"/>
    <p:sldId id="377" r:id="rId11"/>
    <p:sldId id="364" r:id="rId12"/>
    <p:sldId id="378" r:id="rId13"/>
    <p:sldId id="379" r:id="rId14"/>
    <p:sldId id="319" r:id="rId15"/>
    <p:sldId id="363" r:id="rId16"/>
    <p:sldId id="381" r:id="rId17"/>
    <p:sldId id="382" r:id="rId18"/>
    <p:sldId id="310" r:id="rId19"/>
    <p:sldId id="326" r:id="rId20"/>
    <p:sldId id="380" r:id="rId2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AA1E"/>
    <a:srgbClr val="418A18"/>
    <a:srgbClr val="8CD153"/>
    <a:srgbClr val="A1C064"/>
    <a:srgbClr val="61CE24"/>
    <a:srgbClr val="7CDF45"/>
    <a:srgbClr val="33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18" autoAdjust="0"/>
    <p:restoredTop sz="94637" autoAdjust="0"/>
  </p:normalViewPr>
  <p:slideViewPr>
    <p:cSldViewPr>
      <p:cViewPr varScale="1">
        <p:scale>
          <a:sx n="67" d="100"/>
          <a:sy n="67" d="100"/>
        </p:scale>
        <p:origin x="-1410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31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31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0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image" Target="../media/image6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image" Target="../media/image5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2.w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17.png"/><Relationship Id="rId3" Type="http://schemas.openxmlformats.org/officeDocument/2006/relationships/tags" Target="../tags/tag31.xml"/><Relationship Id="rId21" Type="http://schemas.openxmlformats.org/officeDocument/2006/relationships/hyperlink" Target="http://s40.radikal.ru/i088/1009/84/cf6556f3dae1.jpg" TargetMode="Externa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16.jpeg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slideLayout" Target="../slideLayouts/slideLayout27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15.jpe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image" Target="../media/image14.jpeg"/><Relationship Id="rId28" Type="http://schemas.openxmlformats.org/officeDocument/2006/relationships/image" Target="../media/image19.jpeg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image" Target="../media/image13.jpeg"/><Relationship Id="rId27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струменты реализации долгосрочных инвестиционных проектов на базе </a:t>
            </a: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регламента </a:t>
            </a: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а основе проектного финансирования в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еспублике Татарстан</a:t>
            </a: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504" y="1916832"/>
            <a:ext cx="273630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 участием»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b="1" u="sng" dirty="0" smtClean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4437112"/>
            <a:ext cx="2592288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правление по работе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аштакова Мария</a:t>
            </a:r>
            <a:endParaRPr lang="en-US" sz="1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 апреля 2015 г.</a:t>
            </a:r>
          </a:p>
          <a:p>
            <a:pPr algn="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г. Казань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79512" y="245353"/>
            <a:ext cx="75819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Преимущества реализации проектов 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с нуля»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в рамках Конкурса</a:t>
            </a:r>
            <a:endParaRPr lang="ru-RU" sz="18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082991"/>
              </p:ext>
            </p:extLst>
          </p:nvPr>
        </p:nvGraphicFramePr>
        <p:xfrm>
          <a:off x="179512" y="908720"/>
          <a:ext cx="8784977" cy="5758656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986460"/>
                <a:gridCol w="2805286"/>
                <a:gridCol w="1993231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я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 проектам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проектам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нкурса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 стандартные условия финансово – кредитных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ститутов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исходно-разрешительной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1449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проектно-сметной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земельного участка для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в случае возможности размещения проекта на территории индустриального парка)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е к наличию собственных средств от Инициатора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ие проекта в региональной программе для получения государственной поддержк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А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оимость проектов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 50 млн.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б.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ок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5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8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Заголовок 54"/>
          <p:cNvSpPr txBox="1">
            <a:spLocks/>
          </p:cNvSpPr>
          <p:nvPr/>
        </p:nvSpPr>
        <p:spPr bwMode="auto">
          <a:xfrm>
            <a:off x="161640" y="230904"/>
            <a:ext cx="449920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noProof="0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9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356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692696"/>
            <a:ext cx="1440160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ы </a:t>
            </a:r>
            <a:endParaRPr lang="en-US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1484784"/>
            <a:ext cx="1584176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гиональный 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ординатор 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899592" y="126876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971600" y="2204864"/>
            <a:ext cx="1224136" cy="307777"/>
          </a:xfrm>
          <a:prstGeom prst="rect">
            <a:avLst/>
          </a:prstGeom>
          <a:solidFill>
            <a:srgbClr val="50AA1E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1187624" y="198884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187624" y="2636912"/>
            <a:ext cx="3024336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ервичного пакета документов по Инициатору проекта по Схеме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Проведение первичного анализа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акета документов по проекту по Схеме (до 45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Формирование полного пакета документов для направления финансовым институтам для анализа в рамках Схемы (до 14 дней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1403648" y="2492896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трелка вправо 11"/>
          <p:cNvSpPr/>
          <p:nvPr/>
        </p:nvSpPr>
        <p:spPr>
          <a:xfrm>
            <a:off x="4283968" y="3861048"/>
            <a:ext cx="648072" cy="288032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04048" y="357301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Инвестор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14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04048" y="429309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внешнему эксперту по финанс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1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4048" y="5085184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субъектам РФ (господдержка) 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00628" y="5715016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членам Попечительского совета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004048" y="6376972"/>
            <a:ext cx="3816424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9512" y="5877272"/>
            <a:ext cx="39604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смотрение инвестиционного проекта до  момента итогового решения (всеми участниками) занимает 3,5 месяца</a:t>
            </a:r>
            <a:endParaRPr lang="ru-RU" sz="1600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Заголовок 18"/>
          <p:cNvSpPr txBox="1">
            <a:spLocks noGrp="1"/>
          </p:cNvSpPr>
          <p:nvPr>
            <p:ph type="title"/>
          </p:nvPr>
        </p:nvSpPr>
        <p:spPr>
          <a:xfrm>
            <a:off x="182563" y="198880"/>
            <a:ext cx="7581900" cy="3404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цедура рассмотрение инвестиционных проектов в рамках  Конкурса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5127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8"/>
          <p:cNvSpPr txBox="1">
            <a:spLocks noGrp="1"/>
          </p:cNvSpPr>
          <p:nvPr>
            <p:ph type="title"/>
          </p:nvPr>
        </p:nvSpPr>
        <p:spPr>
          <a:xfrm>
            <a:off x="395536" y="49832"/>
            <a:ext cx="7632848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en-US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цедура рассмотрения региональных инвестиционных проектов по «Схеме взаимодействия при реализации инвестиционных проектов с гос. поддержкой / гос. участием», утвержденной № __ Сбербанк России для реализации в соответствии с Постановлением Правительства № 1044 от 11.10.2014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5496" y="188640"/>
            <a:ext cx="464296" cy="338554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’</a:t>
            </a: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9512" y="836712"/>
            <a:ext cx="6192688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79512" y="1268760"/>
            <a:ext cx="6192688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разработка Проектно – сметной документации (ПСД) под условия внешнего эксперта по финансам (1)  / получение разрешение на строительство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79512" y="1844824"/>
            <a:ext cx="6192688" cy="2923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формирование пакета документов для предоставления в МЭР РФ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79512" y="2564904"/>
            <a:ext cx="8784976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МЭР РФ / Получение протокола о отборе проекта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9024" y="3212976"/>
            <a:ext cx="8605464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ВЭБ / Получение положительного заключения по проекту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83568" y="3861048"/>
            <a:ext cx="8280920" cy="46166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</a:t>
            </a:r>
            <a:r>
              <a:rPr lang="ru-RU" sz="1200" b="1" u="sng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нФин</a:t>
            </a:r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Ф / решение о предоставлении гос. гарантии по проекту (приказ) /направление решение всем участникам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483768" y="5517232"/>
            <a:ext cx="5472608" cy="2923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Заключение Кредитного договора и сопутствующих Договоров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44208" y="1268760"/>
            <a:ext cx="2592288" cy="89255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ниторинг ведет Оргкомитет Конкурса</a:t>
            </a:r>
          </a:p>
          <a:p>
            <a:pPr algn="ctr"/>
            <a:endParaRPr lang="ru-RU" sz="13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3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Стрелка вниз 38"/>
          <p:cNvSpPr/>
          <p:nvPr/>
        </p:nvSpPr>
        <p:spPr>
          <a:xfrm>
            <a:off x="2771800" y="220486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491880" y="2920588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согласно графика заседани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3203848" y="292494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2" name="Стрелка вниз 41"/>
          <p:cNvSpPr/>
          <p:nvPr/>
        </p:nvSpPr>
        <p:spPr>
          <a:xfrm>
            <a:off x="4283968" y="436510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3" name="Стрелка вниз 42"/>
          <p:cNvSpPr/>
          <p:nvPr/>
        </p:nvSpPr>
        <p:spPr>
          <a:xfrm>
            <a:off x="3635896" y="3573016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923928" y="3568660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10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572000" y="4360748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5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115616" y="4664169"/>
            <a:ext cx="7848872" cy="46166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правление пакета документов в ВЭБ / подготовка проекта Договора на предоставление государственной гарантии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932040" y="5157192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5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8" name="Стрелка вниз 47"/>
          <p:cNvSpPr/>
          <p:nvPr/>
        </p:nvSpPr>
        <p:spPr>
          <a:xfrm>
            <a:off x="4716016" y="5157192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043288"/>
              </p:ext>
            </p:extLst>
          </p:nvPr>
        </p:nvGraphicFramePr>
        <p:xfrm>
          <a:off x="142844" y="1621503"/>
          <a:ext cx="8715436" cy="403974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737459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нормативно – правовым документам по выделению государственной поддержки (ФЗ-209 и нормативно – правовым документам субъектов РФ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недель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586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Экспертным советом (профильные научные институты / общероссийские общественные организации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з / в месяц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04056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финансовой сегментации (внешних экспертов по финансам)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64470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инвестиционными фондами (членами Попечительского совета) 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 дней с момента получения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25028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внешним экспертом по финансам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 день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ней с момента получения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374691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Попечительским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ветом Конкурс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8477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ключение Инвестиционног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я, с целью реализации проект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стоян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18"/>
          <p:cNvSpPr txBox="1">
            <a:spLocks noGrp="1"/>
          </p:cNvSpPr>
          <p:nvPr>
            <p:ph type="title"/>
          </p:nvPr>
        </p:nvSpPr>
        <p:spPr>
          <a:xfrm>
            <a:off x="182563" y="198880"/>
            <a:ext cx="7581900" cy="3404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ериодичность и сроки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рассмотрения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инвестиционных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6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9314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043450"/>
              </p:ext>
            </p:extLst>
          </p:nvPr>
        </p:nvGraphicFramePr>
        <p:xfrm>
          <a:off x="179512" y="1916832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18"/>
          <p:cNvSpPr txBox="1">
            <a:spLocks/>
          </p:cNvSpPr>
          <p:nvPr/>
        </p:nvSpPr>
        <p:spPr bwMode="auto">
          <a:xfrm>
            <a:off x="182563" y="198880"/>
            <a:ext cx="7581900" cy="340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ериодичность и сроки предоставления инвестиционных проектов</a:t>
            </a:r>
            <a:endParaRPr lang="ru-RU" sz="16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251520" y="188640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3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07502" y="1407879"/>
          <a:ext cx="8856986" cy="2669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3058"/>
                <a:gridCol w="1142730"/>
                <a:gridCol w="1177451"/>
                <a:gridCol w="1268247"/>
                <a:gridCol w="1379366"/>
                <a:gridCol w="1306768"/>
                <a:gridCol w="1379366"/>
              </a:tblGrid>
              <a:tr h="369247">
                <a:tc gridSpan="6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ства инициатора проекта, направленные на реализацию проекта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r>
                        <a:rPr 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редств Инициатора проекта  (инвестиционного бюджета проекта) 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оп.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ложения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  <a:tr h="1781786"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акета документов по Проекту 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П»)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РД»)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</a:t>
                      </a: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МР 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 закупки </a:t>
                      </a:r>
                    </a:p>
                    <a:p>
                      <a:pPr algn="ctr"/>
                      <a:r>
                        <a:rPr lang="ru-RU" sz="120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лата процентов</a:t>
                      </a:r>
                      <a:r>
                        <a:rPr lang="ru-RU" sz="1200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кредиту на инвестиционной стадии </a:t>
                      </a: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плата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гос. пошлины по Экспертизе Проектной документации</a:t>
                      </a:r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369247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 0,5%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т суммы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олее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4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 более 3,5% от стоимость проекта</a:t>
                      </a:r>
                    </a:p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 более 2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18"/>
          <p:cNvSpPr txBox="1">
            <a:spLocks/>
          </p:cNvSpPr>
          <p:nvPr/>
        </p:nvSpPr>
        <p:spPr bwMode="auto">
          <a:xfrm>
            <a:off x="899591" y="198880"/>
            <a:ext cx="7166860" cy="340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ериодичность и сроки предоставления инвестиционных проектов</a:t>
            </a:r>
            <a:endParaRPr lang="ru-RU" sz="16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4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79513" y="2060848"/>
          <a:ext cx="8784975" cy="26552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900"/>
                <a:gridCol w="1524781"/>
                <a:gridCol w="1124692"/>
                <a:gridCol w="1530672"/>
                <a:gridCol w="1228083"/>
                <a:gridCol w="1296310"/>
                <a:gridCol w="1364537"/>
              </a:tblGrid>
              <a:tr h="369247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ства инициатора проекта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30%</a:t>
                      </a:r>
                      <a:r>
                        <a:rPr 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редств Инвестора (инвестиционного бюджета проекта) </a:t>
                      </a:r>
                      <a:endParaRPr lang="ru-RU" sz="14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оп.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ложения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  <a:tr h="1286937"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П»)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РД»)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СМР 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 закупки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лата процентов</a:t>
                      </a:r>
                      <a:r>
                        <a:rPr lang="ru-RU" sz="1200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кредиту на инвестиционной стадии </a:t>
                      </a: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err="1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п-ое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еспечение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369247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 3,9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20% от стоимости Проекта</a:t>
                      </a:r>
                    </a:p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олее  6,1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е мене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5% от сумма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82563" y="184428"/>
            <a:ext cx="72509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нципы формирования Попечительского Совета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107504" y="1196752"/>
          <a:ext cx="8895864" cy="4910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"/>
                <a:gridCol w="1551049"/>
                <a:gridCol w="864096"/>
                <a:gridCol w="1152128"/>
                <a:gridCol w="1440160"/>
                <a:gridCol w="1224136"/>
                <a:gridCol w="936104"/>
                <a:gridCol w="1440159"/>
              </a:tblGrid>
              <a:tr h="501343">
                <a:tc rowSpan="2">
                  <a:txBody>
                    <a:bodyPr/>
                    <a:lstStyle/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лены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печительского Совет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Требования</a:t>
                      </a:r>
                      <a:r>
                        <a:rPr lang="ru-RU" sz="15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 членам Попечительского Совета</a:t>
                      </a:r>
                      <a:endParaRPr lang="ru-RU" sz="15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5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52015">
                <a:tc vMerge="1">
                  <a:txBody>
                    <a:bodyPr/>
                    <a:lstStyle/>
                    <a:p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с-ное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частие в уставном капитале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расле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  <a:endParaRPr lang="ru-RU" sz="1200" b="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рриториальн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-на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«Схема» / Форма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-ия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няты / Согласованы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Особые условия финансирования»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73491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иционные </a:t>
                      </a:r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нд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ласова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7766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о – кредитные организации 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 gridSpan="8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КУЩИЙ СТАТУС</a:t>
                      </a:r>
                      <a:endParaRPr lang="ru-RU" sz="1400" b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Сбербанк России»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45041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О «ВТБ</a:t>
                      </a:r>
                      <a:r>
                        <a:rPr lang="ru-RU" sz="1200" b="0" i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Газпром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-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стадия утверждения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</a:t>
                      </a:r>
                      <a:r>
                        <a:rPr lang="ru-RU" sz="1200" b="0" i="1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СП-Банк</a:t>
                      </a:r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- 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работа через Банки партнеры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838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 txBox="1">
            <a:spLocks noGrp="1"/>
          </p:cNvSpPr>
          <p:nvPr>
            <p:ph type="title"/>
          </p:nvPr>
        </p:nvSpPr>
        <p:spPr>
          <a:xfrm>
            <a:off x="182563" y="137325"/>
            <a:ext cx="7581900" cy="46353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кущие результаты работы Конкурса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277001"/>
              </p:ext>
            </p:extLst>
          </p:nvPr>
        </p:nvGraphicFramePr>
        <p:xfrm>
          <a:off x="323528" y="1397000"/>
          <a:ext cx="8496944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2738"/>
                <a:gridCol w="301420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проектов,</a:t>
                      </a:r>
                      <a:r>
                        <a:rPr lang="ru-RU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аходящихся на стадии реализации (по подписанным инвестиционным соглашениям)</a:t>
                      </a:r>
                    </a:p>
                    <a:p>
                      <a:pPr algn="r"/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7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3, 240</a:t>
                      </a:r>
                      <a:r>
                        <a:rPr lang="ru-RU" sz="18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baseline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Инвестиционной</a:t>
                      </a:r>
                      <a:r>
                        <a:rPr lang="ru-RU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й, находящихся на стадии согласования </a:t>
                      </a:r>
                    </a:p>
                    <a:p>
                      <a:pPr algn="r"/>
                      <a:r>
                        <a:rPr lang="ru-RU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5,507</a:t>
                      </a:r>
                      <a:r>
                        <a:rPr lang="ru-RU" sz="180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7545" y="4653136"/>
            <a:ext cx="80648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баз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дустриальных парк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новляется ежегодно / (обновляется 2 раза в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д)</a:t>
            </a:r>
          </a:p>
          <a:p>
            <a:pPr algn="just"/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за нормативно – правовых акт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 </a:t>
            </a:r>
          </a:p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выделении гос. поддержки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обновляется ежегодно / (2 раза в год)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864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5536" y="764704"/>
            <a:ext cx="7992888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пасибо за внимание</a:t>
            </a:r>
            <a:endParaRPr lang="ru-RU" sz="3200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u="sng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аштакова</a:t>
            </a:r>
            <a:r>
              <a:rPr lang="ru-RU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Мария Юрьевна</a:t>
            </a:r>
            <a:endParaRPr lang="en-US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уководитель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тдела анализа инвестиционных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анизационный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митет Конкурса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"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Ежегодная общественная премия «Регионы - устойчивое развитие»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б. (495) 236-7-36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моб. (926) 136-11-12</a:t>
            </a:r>
          </a:p>
          <a:p>
            <a:r>
              <a:rPr lang="en-US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ashtakova@infra-konkurs.ru</a:t>
            </a:r>
            <a:r>
              <a:rPr lang="en-US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www.infra-konkurs.ru</a:t>
            </a: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шетник Мария Сергеевна</a:t>
            </a:r>
          </a:p>
          <a:p>
            <a:endParaRPr lang="en-US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правление по работе с субъектами РФ</a:t>
            </a:r>
          </a:p>
          <a:p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б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: (985) 992-68-38</a:t>
            </a:r>
          </a:p>
          <a:p>
            <a:r>
              <a:rPr lang="en-US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u="sng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68"/>
          <p:cNvGrpSpPr/>
          <p:nvPr/>
        </p:nvGrpSpPr>
        <p:grpSpPr>
          <a:xfrm>
            <a:off x="107504" y="908720"/>
            <a:ext cx="8540262" cy="5445125"/>
            <a:chOff x="381000" y="1039813"/>
            <a:chExt cx="9251950" cy="5445125"/>
          </a:xfrm>
        </p:grpSpPr>
        <p:sp>
          <p:nvSpPr>
            <p:cNvPr id="4" name="Rectangle 3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908300" y="6302375"/>
              <a:ext cx="1203325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" name="Rectangle 3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311650" y="6302375"/>
              <a:ext cx="5321300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6" name="Rectangle 3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08300" y="51863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" name="Rectangle 3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311650" y="51863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" name="Rectangle 3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08300" y="41068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311650" y="41068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0" name="Rectangle 3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908300" y="2998788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Rectangle 3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311650" y="2998788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2" name="Rectangle 3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08300" y="190341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3" name="Rectangle 2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311650" y="190341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4" name="Прямоугольник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311650" y="105251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овый проект и Вы не понимаете начинать ли Вам тратить деньги на разработку ПСД по проекту без наличия решения финансовых институтов о финансировании  Вашего проекта</a:t>
              </a:r>
            </a:p>
          </p:txBody>
        </p:sp>
        <p:sp>
          <p:nvSpPr>
            <p:cNvPr id="15" name="Прямоугольник 1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311650" y="2154238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Вы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не владеете всеми знаниями по требованиям всех участников инвестиционной деятельности для реализации инвестиционного проекта, чтобы им соответствовать </a:t>
              </a:r>
            </a:p>
          </p:txBody>
        </p:sp>
        <p:sp>
          <p:nvSpPr>
            <p:cNvPr id="16" name="Прямоугольник 1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311650" y="3257550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ет достаточно собственных средств для реализации инвестиционного проекта и Вам нужен со - инвестор (не доли собственных  средств в размере 30% от суммы проекта)</a:t>
              </a:r>
            </a:p>
          </p:txBody>
        </p:sp>
        <p:sp>
          <p:nvSpPr>
            <p:cNvPr id="17" name="Прямоугольник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311650" y="436086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У Вас нет </a:t>
              </a:r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опыта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координации всех участников инвестиционной деятельности для реализации инвестиционного проекта (финансовыми институтами (Банками), инвестиционными фондами и органами исполнительной власти)</a:t>
              </a:r>
            </a:p>
          </p:txBody>
        </p:sp>
        <p:sp>
          <p:nvSpPr>
            <p:cNvPr id="18" name="Прямоугольник 1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908300" y="1052513"/>
              <a:ext cx="1203325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Решение банка на ранней стадии проекта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9" name="Прямоугольник 1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908300" y="2154238"/>
              <a:ext cx="1264614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Методические материалы 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Банк и РУР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0" name="Прямоугольник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922588" y="4360863"/>
              <a:ext cx="1280838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Дорожная карта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РУР –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«СБЕРБАНК»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1" name="Прямоугольник 1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922588" y="3257550"/>
              <a:ext cx="1328336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Согласованный алгоритм работы с со инвестором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2" name="Прямоугольник 1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908300" y="5464175"/>
              <a:ext cx="1295125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Справочная информация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3" name="Прямоугольник 1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311650" y="5464175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Вы хотите узнать больше о формах государственной поддержки и использовать эти знания для получения финансирования в рамках «Особых условий финансирования инвестиционных проектов с гос. поддержкой / гос. участием» для реализации инвестиционного проекта</a:t>
              </a:r>
            </a:p>
          </p:txBody>
        </p:sp>
        <p:sp>
          <p:nvSpPr>
            <p:cNvPr id="24" name="Прямоугольник 13"/>
            <p:cNvSpPr/>
            <p:nvPr>
              <p:custDataLst>
                <p:tags r:id="rId21"/>
              </p:custDataLst>
            </p:nvPr>
          </p:nvSpPr>
          <p:spPr>
            <a:xfrm>
              <a:off x="512763" y="4914900"/>
              <a:ext cx="2035175" cy="89693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Координация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Техническое и методическое сопровождение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5" name="Прямоугольник 13"/>
            <p:cNvSpPr/>
            <p:nvPr>
              <p:custDataLst>
                <p:tags r:id="rId22"/>
              </p:custDataLst>
            </p:nvPr>
          </p:nvSpPr>
          <p:spPr>
            <a:xfrm>
              <a:off x="506506" y="1488530"/>
              <a:ext cx="2174875" cy="89693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Сеть</a:t>
              </a: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Экспертиза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овые продукты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ирование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269082" y="1153319"/>
              <a:ext cx="2563812" cy="2336800"/>
            </a:xfrm>
            <a:custGeom>
              <a:avLst/>
              <a:gdLst>
                <a:gd name="T0" fmla="*/ 2147483647 w 3956"/>
                <a:gd name="T1" fmla="*/ 2147483647 h 3265"/>
                <a:gd name="T2" fmla="*/ 2147483647 w 3956"/>
                <a:gd name="T3" fmla="*/ 2147483647 h 3265"/>
                <a:gd name="T4" fmla="*/ 2147483647 w 3956"/>
                <a:gd name="T5" fmla="*/ 2147483647 h 3265"/>
                <a:gd name="T6" fmla="*/ 2147483647 w 3956"/>
                <a:gd name="T7" fmla="*/ 2147483647 h 3265"/>
                <a:gd name="T8" fmla="*/ 2147483647 w 3956"/>
                <a:gd name="T9" fmla="*/ 0 h 3265"/>
                <a:gd name="T10" fmla="*/ 0 w 3956"/>
                <a:gd name="T11" fmla="*/ 2147483647 h 3265"/>
                <a:gd name="T12" fmla="*/ 2147483647 w 3956"/>
                <a:gd name="T13" fmla="*/ 2147483647 h 3265"/>
                <a:gd name="T14" fmla="*/ 2147483647 w 3956"/>
                <a:gd name="T15" fmla="*/ 2147483647 h 3265"/>
                <a:gd name="T16" fmla="*/ 2147483647 w 3956"/>
                <a:gd name="T17" fmla="*/ 2147483647 h 3265"/>
                <a:gd name="T18" fmla="*/ 2147483647 w 3956"/>
                <a:gd name="T19" fmla="*/ 2147483647 h 3265"/>
                <a:gd name="T20" fmla="*/ 2147483647 w 3956"/>
                <a:gd name="T21" fmla="*/ 2147483647 h 3265"/>
                <a:gd name="T22" fmla="*/ 2147483647 w 3956"/>
                <a:gd name="T23" fmla="*/ 2147483647 h 3265"/>
                <a:gd name="T24" fmla="*/ 2147483647 w 3956"/>
                <a:gd name="T25" fmla="*/ 2147483647 h 3265"/>
                <a:gd name="T26" fmla="*/ 2147483647 w 3956"/>
                <a:gd name="T27" fmla="*/ 2147483647 h 3265"/>
                <a:gd name="T28" fmla="*/ 2147483647 w 3956"/>
                <a:gd name="T29" fmla="*/ 2147483647 h 3265"/>
                <a:gd name="T30" fmla="*/ 2147483647 w 3956"/>
                <a:gd name="T31" fmla="*/ 2147483647 h 3265"/>
                <a:gd name="T32" fmla="*/ 2147483647 w 3956"/>
                <a:gd name="T33" fmla="*/ 2147483647 h 3265"/>
                <a:gd name="T34" fmla="*/ 2147483647 w 3956"/>
                <a:gd name="T35" fmla="*/ 2147483647 h 3265"/>
                <a:gd name="T36" fmla="*/ 2147483647 w 3956"/>
                <a:gd name="T37" fmla="*/ 2147483647 h 32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956"/>
                <a:gd name="T58" fmla="*/ 0 h 3265"/>
                <a:gd name="T59" fmla="*/ 3956 w 3956"/>
                <a:gd name="T60" fmla="*/ 3265 h 326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956" h="3265">
                  <a:moveTo>
                    <a:pt x="3956" y="864"/>
                  </a:moveTo>
                  <a:lnTo>
                    <a:pt x="3582" y="381"/>
                  </a:lnTo>
                  <a:lnTo>
                    <a:pt x="3582" y="505"/>
                  </a:lnTo>
                  <a:lnTo>
                    <a:pt x="3372" y="505"/>
                  </a:lnTo>
                  <a:lnTo>
                    <a:pt x="3481" y="0"/>
                  </a:lnTo>
                  <a:lnTo>
                    <a:pt x="0" y="1"/>
                  </a:lnTo>
                  <a:lnTo>
                    <a:pt x="8" y="3265"/>
                  </a:lnTo>
                  <a:lnTo>
                    <a:pt x="2783" y="3264"/>
                  </a:lnTo>
                  <a:lnTo>
                    <a:pt x="2889" y="2760"/>
                  </a:lnTo>
                  <a:lnTo>
                    <a:pt x="2794" y="2760"/>
                  </a:lnTo>
                  <a:lnTo>
                    <a:pt x="2794" y="2884"/>
                  </a:lnTo>
                  <a:lnTo>
                    <a:pt x="2420" y="2401"/>
                  </a:lnTo>
                  <a:lnTo>
                    <a:pt x="2794" y="1918"/>
                  </a:lnTo>
                  <a:lnTo>
                    <a:pt x="2794" y="2042"/>
                  </a:lnTo>
                  <a:lnTo>
                    <a:pt x="3044" y="2042"/>
                  </a:lnTo>
                  <a:lnTo>
                    <a:pt x="3220" y="1224"/>
                  </a:lnTo>
                  <a:lnTo>
                    <a:pt x="3582" y="1224"/>
                  </a:lnTo>
                  <a:lnTo>
                    <a:pt x="3582" y="1344"/>
                  </a:lnTo>
                  <a:lnTo>
                    <a:pt x="3956" y="864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229394" y="3915569"/>
              <a:ext cx="2641600" cy="2338388"/>
            </a:xfrm>
            <a:custGeom>
              <a:avLst/>
              <a:gdLst>
                <a:gd name="T0" fmla="*/ 2147483647 w 2975"/>
                <a:gd name="T1" fmla="*/ 2147483647 h 3268"/>
                <a:gd name="T2" fmla="*/ 2147483647 w 2975"/>
                <a:gd name="T3" fmla="*/ 2147483647 h 3268"/>
                <a:gd name="T4" fmla="*/ 2147483647 w 2975"/>
                <a:gd name="T5" fmla="*/ 2147483647 h 3268"/>
                <a:gd name="T6" fmla="*/ 2147483647 w 2975"/>
                <a:gd name="T7" fmla="*/ 2147483647 h 3268"/>
                <a:gd name="T8" fmla="*/ 2147483647 w 2975"/>
                <a:gd name="T9" fmla="*/ 2147483647 h 3268"/>
                <a:gd name="T10" fmla="*/ 2147483647 w 2975"/>
                <a:gd name="T11" fmla="*/ 2147483647 h 3268"/>
                <a:gd name="T12" fmla="*/ 2147483647 w 2975"/>
                <a:gd name="T13" fmla="*/ 2147483647 h 3268"/>
                <a:gd name="T14" fmla="*/ 2147483647 w 2975"/>
                <a:gd name="T15" fmla="*/ 2147483647 h 3268"/>
                <a:gd name="T16" fmla="*/ 2147483647 w 2975"/>
                <a:gd name="T17" fmla="*/ 2147483647 h 3268"/>
                <a:gd name="T18" fmla="*/ 2147483647 w 2975"/>
                <a:gd name="T19" fmla="*/ 2147483647 h 3268"/>
                <a:gd name="T20" fmla="*/ 2147483647 w 2975"/>
                <a:gd name="T21" fmla="*/ 2147483647 h 3268"/>
                <a:gd name="T22" fmla="*/ 0 w 2975"/>
                <a:gd name="T23" fmla="*/ 2147483647 h 3268"/>
                <a:gd name="T24" fmla="*/ 2147483647 w 2975"/>
                <a:gd name="T25" fmla="*/ 2147483647 h 3268"/>
                <a:gd name="T26" fmla="*/ 2147483647 w 2975"/>
                <a:gd name="T27" fmla="*/ 2147483647 h 3268"/>
                <a:gd name="T28" fmla="*/ 2147483647 w 2975"/>
                <a:gd name="T29" fmla="*/ 2147483647 h 3268"/>
                <a:gd name="T30" fmla="*/ 2147483647 w 2975"/>
                <a:gd name="T31" fmla="*/ 2147483647 h 3268"/>
                <a:gd name="T32" fmla="*/ 2147483647 w 2975"/>
                <a:gd name="T33" fmla="*/ 2147483647 h 3268"/>
                <a:gd name="T34" fmla="*/ 2147483647 w 2975"/>
                <a:gd name="T35" fmla="*/ 0 h 3268"/>
                <a:gd name="T36" fmla="*/ 2147483647 w 2975"/>
                <a:gd name="T37" fmla="*/ 2147483647 h 32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975"/>
                <a:gd name="T58" fmla="*/ 0 h 3268"/>
                <a:gd name="T59" fmla="*/ 2975 w 2975"/>
                <a:gd name="T60" fmla="*/ 3268 h 32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975" h="3268">
                  <a:moveTo>
                    <a:pt x="1173" y="3"/>
                  </a:moveTo>
                  <a:lnTo>
                    <a:pt x="1064" y="508"/>
                  </a:lnTo>
                  <a:lnTo>
                    <a:pt x="1162" y="508"/>
                  </a:lnTo>
                  <a:lnTo>
                    <a:pt x="1162" y="384"/>
                  </a:lnTo>
                  <a:lnTo>
                    <a:pt x="1536" y="867"/>
                  </a:lnTo>
                  <a:lnTo>
                    <a:pt x="1162" y="1347"/>
                  </a:lnTo>
                  <a:lnTo>
                    <a:pt x="1162" y="1227"/>
                  </a:lnTo>
                  <a:lnTo>
                    <a:pt x="908" y="1227"/>
                  </a:lnTo>
                  <a:lnTo>
                    <a:pt x="733" y="2045"/>
                  </a:lnTo>
                  <a:lnTo>
                    <a:pt x="374" y="2045"/>
                  </a:lnTo>
                  <a:lnTo>
                    <a:pt x="374" y="1921"/>
                  </a:lnTo>
                  <a:lnTo>
                    <a:pt x="0" y="2404"/>
                  </a:lnTo>
                  <a:lnTo>
                    <a:pt x="374" y="2887"/>
                  </a:lnTo>
                  <a:lnTo>
                    <a:pt x="374" y="2763"/>
                  </a:lnTo>
                  <a:lnTo>
                    <a:pt x="581" y="2763"/>
                  </a:lnTo>
                  <a:lnTo>
                    <a:pt x="472" y="3267"/>
                  </a:lnTo>
                  <a:lnTo>
                    <a:pt x="2971" y="3268"/>
                  </a:lnTo>
                  <a:lnTo>
                    <a:pt x="2975" y="0"/>
                  </a:lnTo>
                  <a:lnTo>
                    <a:pt x="1173" y="3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28" name="Group 41"/>
            <p:cNvGrpSpPr>
              <a:grpSpLocks/>
            </p:cNvGrpSpPr>
            <p:nvPr/>
          </p:nvGrpSpPr>
          <p:grpSpPr bwMode="auto">
            <a:xfrm>
              <a:off x="492125" y="3179763"/>
              <a:ext cx="2133600" cy="1131887"/>
              <a:chOff x="310" y="2003"/>
              <a:chExt cx="1344" cy="713"/>
            </a:xfrm>
          </p:grpSpPr>
          <p:sp>
            <p:nvSpPr>
              <p:cNvPr id="30" name="Oval 4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42" y="2035"/>
                <a:ext cx="1312" cy="681"/>
              </a:xfrm>
              <a:prstGeom prst="ellipse">
                <a:avLst/>
              </a:pr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31" name="Oval 29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10" y="2003"/>
                <a:ext cx="1312" cy="681"/>
              </a:xfrm>
              <a:prstGeom prst="ellipse">
                <a:avLst/>
              </a:prstGeom>
              <a:solidFill>
                <a:srgbClr val="00703C">
                  <a:alpha val="79999"/>
                </a:srgbClr>
              </a:solidFill>
              <a:ln w="349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36000" rIns="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Программные</a:t>
                </a:r>
                <a:r>
                  <a:rPr kumimoji="0" lang="ru-RU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 решения </a:t>
                </a: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pic>
          <p:nvPicPr>
            <p:cNvPr id="29" name="Рисунок 33" descr="sbpict_sblogo_ru_horizontal_main_20pct.png"/>
            <p:cNvPicPr>
              <a:picLocks noChangeAspect="1"/>
            </p:cNvPicPr>
            <p:nvPr/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428625" y="1150938"/>
              <a:ext cx="1947863" cy="425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3" name="Rectangle 2"/>
          <p:cNvSpPr txBox="1">
            <a:spLocks noChangeArrowheads="1"/>
          </p:cNvSpPr>
          <p:nvPr/>
        </p:nvSpPr>
        <p:spPr>
          <a:xfrm>
            <a:off x="164982" y="5517232"/>
            <a:ext cx="2606818" cy="648072"/>
          </a:xfrm>
          <a:prstGeom prst="rect">
            <a:avLst/>
          </a:prstGeom>
          <a:ln algn="ctr"/>
        </p:spPr>
        <p:txBody>
          <a:bodyPr vert="horz" lIns="0" tIns="45713" rIns="0" bIns="45713" rtlCol="0" anchor="b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КОНКУРСА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35" name="Группа 15"/>
          <p:cNvGrpSpPr>
            <a:grpSpLocks/>
          </p:cNvGrpSpPr>
          <p:nvPr/>
        </p:nvGrpSpPr>
        <p:grpSpPr bwMode="auto">
          <a:xfrm>
            <a:off x="179512" y="5661248"/>
            <a:ext cx="535930" cy="575444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36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37" name="Рисунок 34" descr="РФ.png"/>
            <p:cNvPicPr>
              <a:picLocks noChangeAspect="1"/>
            </p:cNvPicPr>
            <p:nvPr/>
          </p:nvPicPr>
          <p:blipFill>
            <a:blip r:embed="rId29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8" name="Заголовок 1"/>
          <p:cNvSpPr txBox="1">
            <a:spLocks/>
          </p:cNvSpPr>
          <p:nvPr/>
        </p:nvSpPr>
        <p:spPr bwMode="auto">
          <a:xfrm>
            <a:off x="251520" y="5877272"/>
            <a:ext cx="360040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РУР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с двумя скругленными соседними углами 2"/>
          <p:cNvSpPr/>
          <p:nvPr/>
        </p:nvSpPr>
        <p:spPr>
          <a:xfrm>
            <a:off x="467544" y="1268760"/>
            <a:ext cx="8247860" cy="1014952"/>
          </a:xfrm>
          <a:prstGeom prst="round2SameRect">
            <a:avLst>
              <a:gd name="adj1" fmla="val 9334"/>
              <a:gd name="adj2" fmla="val 0"/>
            </a:avLst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ОГРАММА 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ОМПЛЕКСНОГО СОПРОВОЖДЕНИЯ И ПОДГОТОВКИ  ПРОЕКТОВ К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ФИНАНСИРОВАНИЮ 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 txBox="1">
            <a:spLocks/>
          </p:cNvSpPr>
          <p:nvPr/>
        </p:nvSpPr>
        <p:spPr>
          <a:xfrm>
            <a:off x="8515350" y="6424613"/>
            <a:ext cx="520700" cy="2651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6D5861D-0E85-4B89-8890-A30BC760EB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7505" y="2564904"/>
            <a:ext cx="244827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ДИ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ТАНДАР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ору заявок инвестиционных проектов </a:t>
            </a: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7504" y="4797152"/>
            <a:ext cx="2448272" cy="198884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ПОЗВОЛЯЕТ ОДНОВРЕМЕННО  ПОЛУЧИТЬ: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лгов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вестиционн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сударственную  поддержку (региональная/федеральная)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15"/>
          <p:cNvGrpSpPr>
            <a:grpSpLocks/>
          </p:cNvGrpSpPr>
          <p:nvPr/>
        </p:nvGrpSpPr>
        <p:grpSpPr bwMode="auto">
          <a:xfrm>
            <a:off x="107504" y="764704"/>
            <a:ext cx="1150937" cy="1152525"/>
            <a:chOff x="3992566" y="3067052"/>
            <a:chExt cx="1150938" cy="1152525"/>
          </a:xfrm>
        </p:grpSpPr>
        <p:sp>
          <p:nvSpPr>
            <p:cNvPr id="8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9" name="Рисунок 32" descr="logotip_Sberbanka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15"/>
          <p:cNvGrpSpPr>
            <a:grpSpLocks/>
          </p:cNvGrpSpPr>
          <p:nvPr/>
        </p:nvGrpSpPr>
        <p:grpSpPr bwMode="auto">
          <a:xfrm>
            <a:off x="8024365" y="908720"/>
            <a:ext cx="1116013" cy="1079500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11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12" name="Рисунок 34" descr="РФ.png"/>
            <p:cNvPicPr>
              <a:picLocks noChangeAspect="1"/>
            </p:cNvPicPr>
            <p:nvPr/>
          </p:nvPicPr>
          <p:blipFill>
            <a:blip r:embed="rId3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8172127" y="1052736"/>
            <a:ext cx="93610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РУР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699792" y="2564904"/>
            <a:ext cx="352839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НИВЕРСАЛЬНЫЙ АЛГОРИТ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бора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рассмотрения, структурирования и реализации инвестиционных проектов</a:t>
            </a:r>
            <a:r>
              <a:rPr lang="ru-RU" sz="16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300192" y="2564904"/>
            <a:ext cx="2736304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ПЕЦИАЛЬ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ансовый продукт</a:t>
            </a:r>
            <a:endParaRPr lang="ru-RU" sz="16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Особые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словия финансирования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вестиционных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ектов с государственной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держкой»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699792" y="4725144"/>
            <a:ext cx="3528392" cy="2016224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СТАНДАРТИЗИРУЕТ ПРОЕКТ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 ПОД ТРЕБОВАНИЯ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Финансово-кредитных организаций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вестиционных фондов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убъектов РФ (региональных программ) Федеральных целевых и государственных программ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траховых компаний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300192" y="4725144"/>
            <a:ext cx="2736304" cy="1980568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ДАЕТ ВОЗМОЖНОСТЬ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лучить финансирование по  более низкой  ставке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величить сроки кредитования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простить сбор документов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val 42"/>
          <p:cNvSpPr>
            <a:spLocks noChangeAspect="1" noChangeArrowheads="1"/>
          </p:cNvSpPr>
          <p:nvPr/>
        </p:nvSpPr>
        <p:spPr bwMode="auto">
          <a:xfrm>
            <a:off x="6372200" y="2780928"/>
            <a:ext cx="1150938" cy="1152526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Line 64"/>
          <p:cNvSpPr>
            <a:spLocks noChangeShapeType="1"/>
          </p:cNvSpPr>
          <p:nvPr/>
        </p:nvSpPr>
        <p:spPr bwMode="auto">
          <a:xfrm>
            <a:off x="4499992" y="1772816"/>
            <a:ext cx="0" cy="108012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Line 64"/>
          <p:cNvSpPr>
            <a:spLocks noChangeShapeType="1"/>
          </p:cNvSpPr>
          <p:nvPr/>
        </p:nvSpPr>
        <p:spPr bwMode="auto">
          <a:xfrm flipH="1">
            <a:off x="3059832" y="1988840"/>
            <a:ext cx="3168351" cy="316835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Line 65"/>
          <p:cNvSpPr>
            <a:spLocks noChangeShapeType="1"/>
          </p:cNvSpPr>
          <p:nvPr/>
        </p:nvSpPr>
        <p:spPr bwMode="auto">
          <a:xfrm flipH="1" flipV="1">
            <a:off x="3059832" y="1916832"/>
            <a:ext cx="2808311" cy="309634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Line 66"/>
          <p:cNvSpPr>
            <a:spLocks noChangeShapeType="1"/>
          </p:cNvSpPr>
          <p:nvPr/>
        </p:nvSpPr>
        <p:spPr bwMode="auto">
          <a:xfrm flipH="1" flipV="1">
            <a:off x="2700338" y="3424238"/>
            <a:ext cx="36004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Прямоугольник 52"/>
          <p:cNvSpPr>
            <a:spLocks noChangeArrowheads="1"/>
          </p:cNvSpPr>
          <p:nvPr/>
        </p:nvSpPr>
        <p:spPr bwMode="auto">
          <a:xfrm>
            <a:off x="3851920" y="3861048"/>
            <a:ext cx="14351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57263">
              <a:lnSpc>
                <a:spcPct val="95000"/>
              </a:lnSpc>
              <a:spcAft>
                <a:spcPts val="600"/>
              </a:spcAft>
            </a:pP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ординатор</a:t>
            </a:r>
          </a:p>
        </p:txBody>
      </p:sp>
      <p:sp>
        <p:nvSpPr>
          <p:cNvPr id="29" name="Oval 42"/>
          <p:cNvSpPr>
            <a:spLocks noChangeAspect="1" noChangeArrowheads="1"/>
          </p:cNvSpPr>
          <p:nvPr/>
        </p:nvSpPr>
        <p:spPr bwMode="auto">
          <a:xfrm>
            <a:off x="1763688" y="2996952"/>
            <a:ext cx="1150938" cy="1152526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Прямоугольник 22"/>
          <p:cNvSpPr>
            <a:spLocks noChangeArrowheads="1"/>
          </p:cNvSpPr>
          <p:nvPr/>
        </p:nvSpPr>
        <p:spPr bwMode="auto">
          <a:xfrm>
            <a:off x="7452320" y="2996952"/>
            <a:ext cx="1625600" cy="708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Субъекты РФ и муниципальные образования</a:t>
            </a:r>
            <a:endParaRPr lang="ru-RU" sz="1400" dirty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Oval 41"/>
          <p:cNvSpPr>
            <a:spLocks noChangeAspect="1" noChangeArrowheads="1"/>
          </p:cNvSpPr>
          <p:nvPr/>
        </p:nvSpPr>
        <p:spPr bwMode="auto">
          <a:xfrm>
            <a:off x="5940152" y="1196752"/>
            <a:ext cx="1151110" cy="115270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2" name="Рисунок 33" descr="1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56176" y="1340768"/>
            <a:ext cx="793251" cy="85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56"/>
          <p:cNvGrpSpPr>
            <a:grpSpLocks/>
          </p:cNvGrpSpPr>
          <p:nvPr/>
        </p:nvGrpSpPr>
        <p:grpSpPr bwMode="auto">
          <a:xfrm>
            <a:off x="3923928" y="2852936"/>
            <a:ext cx="1150938" cy="1152525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34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35" name="Рисунок 34" descr="РФ.png"/>
            <p:cNvPicPr>
              <a:picLocks noChangeAspect="1"/>
            </p:cNvPicPr>
            <p:nvPr/>
          </p:nvPicPr>
          <p:blipFill>
            <a:blip r:embed="rId3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Группа 53"/>
          <p:cNvGrpSpPr>
            <a:grpSpLocks/>
          </p:cNvGrpSpPr>
          <p:nvPr/>
        </p:nvGrpSpPr>
        <p:grpSpPr bwMode="auto">
          <a:xfrm>
            <a:off x="5508104" y="4581128"/>
            <a:ext cx="1150937" cy="1152525"/>
            <a:chOff x="5357818" y="4572008"/>
            <a:chExt cx="1150937" cy="1152525"/>
          </a:xfrm>
        </p:grpSpPr>
        <p:sp>
          <p:nvSpPr>
            <p:cNvPr id="37" name="Oval 44"/>
            <p:cNvSpPr>
              <a:spLocks noChangeAspect="1" noChangeArrowheads="1"/>
            </p:cNvSpPr>
            <p:nvPr/>
          </p:nvSpPr>
          <p:spPr bwMode="auto">
            <a:xfrm>
              <a:off x="5357818" y="4572008"/>
              <a:ext cx="1150937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38" name="Рисунок 35" descr="население.png"/>
            <p:cNvPicPr>
              <a:picLocks noChangeAspect="1"/>
            </p:cNvPicPr>
            <p:nvPr/>
          </p:nvPicPr>
          <p:blipFill>
            <a:blip r:embed="rId4" cstate="print">
              <a:lum contrast="-10000"/>
            </a:blip>
            <a:srcRect/>
            <a:stretch>
              <a:fillRect/>
            </a:stretch>
          </p:blipFill>
          <p:spPr bwMode="auto">
            <a:xfrm>
              <a:off x="5643570" y="4857760"/>
              <a:ext cx="627063" cy="552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Группа 54"/>
          <p:cNvGrpSpPr>
            <a:grpSpLocks/>
          </p:cNvGrpSpPr>
          <p:nvPr/>
        </p:nvGrpSpPr>
        <p:grpSpPr bwMode="auto">
          <a:xfrm>
            <a:off x="2483768" y="4581128"/>
            <a:ext cx="1150937" cy="1152525"/>
            <a:chOff x="2555875" y="4572008"/>
            <a:chExt cx="1150938" cy="1152525"/>
          </a:xfrm>
        </p:grpSpPr>
        <p:sp>
          <p:nvSpPr>
            <p:cNvPr id="40" name="Oval 45"/>
            <p:cNvSpPr>
              <a:spLocks noChangeAspect="1" noChangeArrowheads="1"/>
            </p:cNvSpPr>
            <p:nvPr/>
          </p:nvSpPr>
          <p:spPr bwMode="auto">
            <a:xfrm>
              <a:off x="2555875" y="4572008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41" name="Рисунок 36" descr="michaeldb081100031.png"/>
            <p:cNvPicPr>
              <a:picLocks noChangeAspect="1"/>
            </p:cNvPicPr>
            <p:nvPr/>
          </p:nvPicPr>
          <p:blipFill>
            <a:blip r:embed="rId5" cstate="print">
              <a:lum contrast="-10000"/>
            </a:blip>
            <a:stretch>
              <a:fillRect/>
            </a:stretch>
          </p:blipFill>
          <p:spPr>
            <a:xfrm>
              <a:off x="2643174" y="4786322"/>
              <a:ext cx="977355" cy="674841"/>
            </a:xfrm>
            <a:prstGeom prst="ellipse">
              <a:avLst/>
            </a:prstGeom>
          </p:spPr>
        </p:pic>
      </p:grpSp>
      <p:grpSp>
        <p:nvGrpSpPr>
          <p:cNvPr id="6" name="Группа 37"/>
          <p:cNvGrpSpPr>
            <a:grpSpLocks/>
          </p:cNvGrpSpPr>
          <p:nvPr/>
        </p:nvGrpSpPr>
        <p:grpSpPr bwMode="auto">
          <a:xfrm>
            <a:off x="1907704" y="3284984"/>
            <a:ext cx="825500" cy="503238"/>
            <a:chOff x="2643174" y="2856709"/>
            <a:chExt cx="824480" cy="502125"/>
          </a:xfrm>
        </p:grpSpPr>
        <p:grpSp>
          <p:nvGrpSpPr>
            <p:cNvPr id="7" name="Группа 36"/>
            <p:cNvGrpSpPr>
              <a:grpSpLocks/>
            </p:cNvGrpSpPr>
            <p:nvPr/>
          </p:nvGrpSpPr>
          <p:grpSpPr bwMode="auto">
            <a:xfrm>
              <a:off x="2652699" y="3071805"/>
              <a:ext cx="814955" cy="287023"/>
              <a:chOff x="2652699" y="2854834"/>
              <a:chExt cx="814955" cy="504000"/>
            </a:xfrm>
          </p:grpSpPr>
          <p:sp>
            <p:nvSpPr>
              <p:cNvPr id="49" name="Прямоугольник 48"/>
              <p:cNvSpPr/>
              <p:nvPr/>
            </p:nvSpPr>
            <p:spPr>
              <a:xfrm>
                <a:off x="2652687" y="3141894"/>
                <a:ext cx="71349" cy="2169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2776359" y="3072358"/>
                <a:ext cx="72935" cy="2864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1" name="Прямоугольник 46"/>
              <p:cNvSpPr/>
              <p:nvPr/>
            </p:nvSpPr>
            <p:spPr>
              <a:xfrm>
                <a:off x="2900031" y="2963883"/>
                <a:ext cx="72935" cy="39496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3023703" y="2963883"/>
                <a:ext cx="72935" cy="39496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3147375" y="2855407"/>
                <a:ext cx="72935" cy="5034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3271047" y="2891566"/>
                <a:ext cx="72935" cy="46727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3396304" y="3036200"/>
                <a:ext cx="71350" cy="32264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cxnSp>
          <p:nvCxnSpPr>
            <p:cNvPr id="44" name="Прямая соединительная линия 43"/>
            <p:cNvCxnSpPr/>
            <p:nvPr/>
          </p:nvCxnSpPr>
          <p:spPr>
            <a:xfrm rot="5400000" flipH="1" flipV="1">
              <a:off x="2643244" y="2961183"/>
              <a:ext cx="142559" cy="142698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2770017" y="2969173"/>
              <a:ext cx="142698" cy="71279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 flipV="1">
              <a:off x="2888932" y="2888389"/>
              <a:ext cx="182337" cy="159983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rot="16200000" flipH="1">
              <a:off x="3048330" y="2897058"/>
              <a:ext cx="106128" cy="8879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 flipV="1">
              <a:off x="3136276" y="2856709"/>
              <a:ext cx="309180" cy="118800"/>
            </a:xfrm>
            <a:prstGeom prst="line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55"/>
          <p:cNvGrpSpPr>
            <a:grpSpLocks/>
          </p:cNvGrpSpPr>
          <p:nvPr/>
        </p:nvGrpSpPr>
        <p:grpSpPr bwMode="auto">
          <a:xfrm>
            <a:off x="2123728" y="1196752"/>
            <a:ext cx="1150937" cy="1152525"/>
            <a:chOff x="3992566" y="3067052"/>
            <a:chExt cx="1150938" cy="1152525"/>
          </a:xfrm>
        </p:grpSpPr>
        <p:sp>
          <p:nvSpPr>
            <p:cNvPr id="57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58" name="Рисунок 32" descr="logotip_Sberbanka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0" name="Oval 44"/>
          <p:cNvSpPr>
            <a:spLocks noChangeAspect="1" noChangeArrowheads="1"/>
          </p:cNvSpPr>
          <p:nvPr/>
        </p:nvSpPr>
        <p:spPr bwMode="auto">
          <a:xfrm>
            <a:off x="3635896" y="836712"/>
            <a:ext cx="1800200" cy="1360609"/>
          </a:xfrm>
          <a:prstGeom prst="ellipse">
            <a:avLst/>
          </a:prstGeom>
          <a:solidFill>
            <a:srgbClr val="009900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" name="Прямоугольник 17"/>
          <p:cNvSpPr>
            <a:spLocks noChangeArrowheads="1"/>
          </p:cNvSpPr>
          <p:nvPr/>
        </p:nvSpPr>
        <p:spPr bwMode="auto">
          <a:xfrm>
            <a:off x="323528" y="4725144"/>
            <a:ext cx="2232248" cy="1734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Поставщики услуг</a:t>
            </a: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троительные компании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ставщики оборудования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ные институты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траховые компании</a:t>
            </a:r>
          </a:p>
        </p:txBody>
      </p:sp>
      <p:sp>
        <p:nvSpPr>
          <p:cNvPr id="62" name="Прямоугольник 31"/>
          <p:cNvSpPr>
            <a:spLocks noChangeArrowheads="1"/>
          </p:cNvSpPr>
          <p:nvPr/>
        </p:nvSpPr>
        <p:spPr bwMode="auto">
          <a:xfrm>
            <a:off x="6732240" y="4797152"/>
            <a:ext cx="2411760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щественные организации</a:t>
            </a:r>
            <a:endParaRPr lang="ru-RU" sz="12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«Союз Промышленников и Предпринимателей»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АСИ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«Деловая России»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Экспертные сообщества</a:t>
            </a:r>
          </a:p>
          <a:p>
            <a:pPr defTabSz="957263">
              <a:lnSpc>
                <a:spcPct val="95000"/>
              </a:lnSpc>
              <a:spcAft>
                <a:spcPts val="600"/>
              </a:spcAft>
            </a:pPr>
            <a:endParaRPr lang="ru-RU" sz="1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179512" y="2924944"/>
            <a:ext cx="1493466" cy="1066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Инвесторы</a:t>
            </a:r>
          </a:p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05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Российские и иностранные ИНВЕСТФОНДЫ</a:t>
            </a:r>
          </a:p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ru-RU" sz="105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092280" y="1196752"/>
            <a:ext cx="1656184" cy="936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Федеральные министерства   и ведомства </a:t>
            </a:r>
          </a:p>
          <a:p>
            <a:pPr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ru-RU" sz="1050" dirty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5" name="Прямоугольник 16"/>
          <p:cNvSpPr>
            <a:spLocks noChangeArrowheads="1"/>
          </p:cNvSpPr>
          <p:nvPr/>
        </p:nvSpPr>
        <p:spPr bwMode="auto">
          <a:xfrm>
            <a:off x="539552" y="1268761"/>
            <a:ext cx="1440160" cy="929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Финансовые институты</a:t>
            </a:r>
          </a:p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Банки с госучастием</a:t>
            </a:r>
          </a:p>
        </p:txBody>
      </p:sp>
      <p:sp>
        <p:nvSpPr>
          <p:cNvPr id="66" name="Заголовок 1"/>
          <p:cNvSpPr txBox="1">
            <a:spLocks/>
          </p:cNvSpPr>
          <p:nvPr/>
        </p:nvSpPr>
        <p:spPr bwMode="auto">
          <a:xfrm>
            <a:off x="4139952" y="2996952"/>
            <a:ext cx="93610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РУР</a:t>
            </a:r>
          </a:p>
        </p:txBody>
      </p:sp>
      <p:sp>
        <p:nvSpPr>
          <p:cNvPr id="67" name="Заголовок 1"/>
          <p:cNvSpPr>
            <a:spLocks noGrp="1"/>
          </p:cNvSpPr>
          <p:nvPr>
            <p:ph type="title"/>
          </p:nvPr>
        </p:nvSpPr>
        <p:spPr>
          <a:xfrm>
            <a:off x="755576" y="188640"/>
            <a:ext cx="7848327" cy="432048"/>
          </a:xfrm>
        </p:spPr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</a:pP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ординация основных участников </a:t>
            </a:r>
            <a:r>
              <a:rPr lang="ru-RU" sz="1600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вестпроце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c</a:t>
            </a:r>
            <a:r>
              <a:rPr lang="ru-RU" sz="1600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а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pic>
        <p:nvPicPr>
          <p:cNvPr id="68" name="Picture 2" descr="C:\Program Files\Microsoft Office\MEDIA\CAGCAT10\j0205462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88224" y="2852936"/>
            <a:ext cx="79208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71209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627784" y="1412776"/>
            <a:ext cx="3904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явки Инвестиционных проектов </a:t>
            </a:r>
            <a:endParaRPr lang="ru-RU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87624" y="1844824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Первичный анализ юр. лица для соответствие государственных программ и ФЦП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87624" y="2492896"/>
            <a:ext cx="6840760" cy="5847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инвестиционном комитете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решение инвестора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87624" y="3140968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комитете Банка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внешнего эксперта по финансам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87624" y="3789040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Субъектом РФ</a:t>
            </a:r>
            <a:endParaRPr lang="en-US" sz="1600" b="1" dirty="0" smtClean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87624" y="4170566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заседании Попечительского совета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843808" y="764704"/>
            <a:ext cx="3456384" cy="4001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ru-RU" sz="20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Стрелка вниз 37"/>
          <p:cNvSpPr/>
          <p:nvPr/>
        </p:nvSpPr>
        <p:spPr>
          <a:xfrm>
            <a:off x="3995936" y="4509119"/>
            <a:ext cx="936104" cy="217765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TextBox 51"/>
          <p:cNvSpPr txBox="1"/>
          <p:nvPr/>
        </p:nvSpPr>
        <p:spPr>
          <a:xfrm>
            <a:off x="971600" y="4654877"/>
            <a:ext cx="68553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ализация инвестиционных проектов по механизму</a:t>
            </a:r>
          </a:p>
          <a:p>
            <a:pPr algn="ctr"/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«Особые условия финансирования инвестиционных проектов»</a:t>
            </a:r>
            <a:endParaRPr lang="ru-RU" b="1" u="sng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7" name="Стрелка вниз 66"/>
          <p:cNvSpPr/>
          <p:nvPr/>
        </p:nvSpPr>
        <p:spPr>
          <a:xfrm>
            <a:off x="755576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8" name="Стрелка вниз 67"/>
          <p:cNvSpPr/>
          <p:nvPr/>
        </p:nvSpPr>
        <p:spPr>
          <a:xfrm>
            <a:off x="755576" y="23506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9" name="Стрелка вниз 68"/>
          <p:cNvSpPr/>
          <p:nvPr/>
        </p:nvSpPr>
        <p:spPr>
          <a:xfrm>
            <a:off x="755576" y="2998693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Стрелка вниз 69"/>
          <p:cNvSpPr/>
          <p:nvPr/>
        </p:nvSpPr>
        <p:spPr>
          <a:xfrm>
            <a:off x="827584" y="436684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" name="Стрелка вниз 70"/>
          <p:cNvSpPr/>
          <p:nvPr/>
        </p:nvSpPr>
        <p:spPr>
          <a:xfrm>
            <a:off x="755576" y="364676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2" name="Стрелка вниз 71"/>
          <p:cNvSpPr/>
          <p:nvPr/>
        </p:nvSpPr>
        <p:spPr>
          <a:xfrm>
            <a:off x="8172400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3" name="Стрелка вниз 72"/>
          <p:cNvSpPr/>
          <p:nvPr/>
        </p:nvSpPr>
        <p:spPr>
          <a:xfrm>
            <a:off x="8172400" y="220660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4" name="Стрелка вниз 73"/>
          <p:cNvSpPr/>
          <p:nvPr/>
        </p:nvSpPr>
        <p:spPr>
          <a:xfrm>
            <a:off x="8172400" y="2782669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5" name="Стрелка вниз 74"/>
          <p:cNvSpPr/>
          <p:nvPr/>
        </p:nvSpPr>
        <p:spPr>
          <a:xfrm>
            <a:off x="8172400" y="41508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6" name="Стрелка вниз 75"/>
          <p:cNvSpPr/>
          <p:nvPr/>
        </p:nvSpPr>
        <p:spPr>
          <a:xfrm>
            <a:off x="8172400" y="34307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2" name="TextBox 81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443577"/>
              </p:ext>
            </p:extLst>
          </p:nvPr>
        </p:nvGraphicFramePr>
        <p:xfrm>
          <a:off x="251520" y="5589240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8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Особые условия финансирования </a:t>
            </a:r>
            <a:endParaRPr lang="ru-RU" sz="1600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95536" y="5229200"/>
            <a:ext cx="8501062" cy="714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3528" y="836712"/>
            <a:ext cx="8501062" cy="7920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3528" y="1844824"/>
            <a:ext cx="8568952" cy="1074415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95536" y="2996952"/>
            <a:ext cx="8501062" cy="914995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08658" y="3989660"/>
            <a:ext cx="8501062" cy="1023516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51520" y="836712"/>
            <a:ext cx="1656184" cy="756008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ЗАЛОГ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одержимое 2"/>
          <p:cNvSpPr txBox="1">
            <a:spLocks/>
          </p:cNvSpPr>
          <p:nvPr/>
        </p:nvSpPr>
        <p:spPr>
          <a:xfrm>
            <a:off x="1979712" y="908720"/>
            <a:ext cx="6984776" cy="5832648"/>
          </a:xfrm>
          <a:prstGeom prst="rect">
            <a:avLst/>
          </a:prstGeom>
        </p:spPr>
        <p:txBody>
          <a:bodyPr/>
          <a:lstStyle/>
          <a:p>
            <a:pPr algn="ctr" fontAlgn="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омфортное обеспечение</a:t>
            </a:r>
          </a:p>
          <a:p>
            <a:pPr algn="ctr" fontAlgn="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сновное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обеспечение</a:t>
            </a: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tabLst>
                <a:tab pos="534988" algn="l"/>
              </a:tabLs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проектов, соответствующих требованиям Постановления Правительства №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044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ровень процентной ставки, установленной ЦБ для уполномоченных Банком в целях рефинансирования кредитов + </a:t>
            </a:r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,5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%</a:t>
            </a:r>
            <a:endParaRPr lang="ru-RU" sz="1400" b="1" dirty="0" smtClean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ля проектов, соответствующих требованиям ФЗ № 209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ровень процентной ставки, установленной ЦБ для уполномоченных Банком в целях рефинансирования кредитов + 2,5%</a:t>
            </a:r>
          </a:p>
          <a:p>
            <a:pPr algn="ctr"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ектов, соответствующих требованиям нормативно – правовых актов,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азрабатываемых в порядке реализации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в рамках Распоряжения №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98-Р 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отдельным нормативно – правовым актам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о уплате процент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 6 до 9 месяце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	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79512" y="1844824"/>
            <a:ext cx="1709936" cy="3168352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СТОИМОСТЬ СРЕДСТВ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67544" y="6021288"/>
            <a:ext cx="8424936" cy="714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 отсрочке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</a:t>
            </a:r>
          </a:p>
          <a:p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</a:t>
            </a: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По </a:t>
            </a:r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сновному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лгу</a:t>
            </a: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 36 месяцев</a:t>
            </a:r>
          </a:p>
          <a:p>
            <a:endParaRPr lang="ru-RU" sz="16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79512" y="5157192"/>
            <a:ext cx="1656184" cy="1584176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ФИНАНСОВЫЕ</a:t>
            </a:r>
          </a:p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каникулы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кие проекты могут быть заявлены на Конкурс</a:t>
            </a:r>
            <a:endParaRPr lang="ru-RU" sz="1600" dirty="0"/>
          </a:p>
        </p:txBody>
      </p:sp>
      <p:sp>
        <p:nvSpPr>
          <p:cNvPr id="4" name="Равнобедренный треугольник 3"/>
          <p:cNvSpPr/>
          <p:nvPr/>
        </p:nvSpPr>
        <p:spPr bwMode="auto">
          <a:xfrm>
            <a:off x="3923928" y="836712"/>
            <a:ext cx="2664296" cy="1440160"/>
          </a:xfrm>
          <a:prstGeom prst="triangle">
            <a:avLst>
              <a:gd name="adj" fmla="val 50658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chemeClr val="bg1"/>
              </a:solidFill>
            </a:endParaRPr>
          </a:p>
        </p:txBody>
      </p:sp>
      <p:sp>
        <p:nvSpPr>
          <p:cNvPr id="5" name="Трапеция 4"/>
          <p:cNvSpPr/>
          <p:nvPr/>
        </p:nvSpPr>
        <p:spPr bwMode="auto">
          <a:xfrm>
            <a:off x="2987824" y="2420888"/>
            <a:ext cx="4676044" cy="1656015"/>
          </a:xfrm>
          <a:prstGeom prst="trapezoid">
            <a:avLst>
              <a:gd name="adj" fmla="val 54006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6" name="Трапеция 5"/>
          <p:cNvSpPr/>
          <p:nvPr/>
        </p:nvSpPr>
        <p:spPr bwMode="auto">
          <a:xfrm>
            <a:off x="2267744" y="4221088"/>
            <a:ext cx="5976664" cy="1008112"/>
          </a:xfrm>
          <a:prstGeom prst="trapezoid">
            <a:avLst>
              <a:gd name="adj" fmla="val 54552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7" name="Трапеция 6"/>
          <p:cNvSpPr/>
          <p:nvPr/>
        </p:nvSpPr>
        <p:spPr bwMode="auto">
          <a:xfrm>
            <a:off x="2627784" y="5445224"/>
            <a:ext cx="5935690" cy="605484"/>
          </a:xfrm>
          <a:prstGeom prst="trapezoid">
            <a:avLst>
              <a:gd name="adj" fmla="val 4939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8" name="Овал 19"/>
          <p:cNvSpPr>
            <a:spLocks noChangeArrowheads="1"/>
          </p:cNvSpPr>
          <p:nvPr/>
        </p:nvSpPr>
        <p:spPr bwMode="auto">
          <a:xfrm>
            <a:off x="323528" y="450912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A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9" name="Овал 19"/>
          <p:cNvSpPr>
            <a:spLocks noChangeArrowheads="1"/>
          </p:cNvSpPr>
          <p:nvPr/>
        </p:nvSpPr>
        <p:spPr bwMode="auto">
          <a:xfrm>
            <a:off x="323528" y="2564904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B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0" name="Овал 19"/>
          <p:cNvSpPr>
            <a:spLocks noChangeArrowheads="1"/>
          </p:cNvSpPr>
          <p:nvPr/>
        </p:nvSpPr>
        <p:spPr bwMode="auto">
          <a:xfrm>
            <a:off x="323528" y="1196752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C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323528" y="2276872"/>
            <a:ext cx="800697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304771" y="4117665"/>
            <a:ext cx="7971541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Прямая соединительная линия 12"/>
          <p:cNvCxnSpPr/>
          <p:nvPr/>
        </p:nvCxnSpPr>
        <p:spPr bwMode="auto">
          <a:xfrm>
            <a:off x="318942" y="5301208"/>
            <a:ext cx="804196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Правая фигурная скобка 13"/>
          <p:cNvSpPr/>
          <p:nvPr/>
        </p:nvSpPr>
        <p:spPr bwMode="auto">
          <a:xfrm>
            <a:off x="8100392" y="1357391"/>
            <a:ext cx="202019" cy="803105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5" name="Правая фигурная скобка 14"/>
          <p:cNvSpPr/>
          <p:nvPr/>
        </p:nvSpPr>
        <p:spPr bwMode="auto">
          <a:xfrm>
            <a:off x="8100392" y="2339165"/>
            <a:ext cx="226823" cy="168651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6" name="Правая фигурная скобка 15"/>
          <p:cNvSpPr/>
          <p:nvPr/>
        </p:nvSpPr>
        <p:spPr bwMode="auto">
          <a:xfrm>
            <a:off x="8103930" y="4214111"/>
            <a:ext cx="249761" cy="96780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48482" y="1544514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353691" y="2978546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353691" y="4499828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71600" y="1268760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пециальные программные решения отдельно по каждому проекту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66899" y="2604990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Ускоренная схема рассмотрения 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63342" y="4355363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омплексная систем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опровождени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5536" y="5445224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Механизмы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финансирования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572000" y="1412776"/>
            <a:ext cx="14084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завершенное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изводство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дернизация     др. проекты</a:t>
            </a:r>
            <a:endParaRPr lang="ru-RU" sz="11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707904" y="2852936"/>
            <a:ext cx="32403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ы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наличием 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решитель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кументации      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563888" y="4365104"/>
            <a:ext cx="381642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ы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с нуля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 </a:t>
            </a:r>
            <a:endParaRPr lang="en-US" sz="13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ез наличия разработан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 сметной документации)</a:t>
            </a:r>
          </a:p>
        </p:txBody>
      </p:sp>
      <p:sp>
        <p:nvSpPr>
          <p:cNvPr id="27" name="Трапеция 26"/>
          <p:cNvSpPr/>
          <p:nvPr/>
        </p:nvSpPr>
        <p:spPr bwMode="auto">
          <a:xfrm>
            <a:off x="1619672" y="5373216"/>
            <a:ext cx="7306574" cy="1152128"/>
          </a:xfrm>
          <a:prstGeom prst="trapezoid">
            <a:avLst>
              <a:gd name="adj" fmla="val 54552"/>
            </a:avLst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е </a:t>
            </a:r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нвестиционное 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Концессия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 другие механизмы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2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2" descr="Картинка 30 из 29046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420888"/>
            <a:ext cx="582803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3933056"/>
            <a:ext cx="619036" cy="495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7" descr="http://im7-tub-ru.yandex.net/i?id=337587134-02-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745117"/>
            <a:ext cx="274313" cy="484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www.bsncharteredaccountants.co.uk/images/business_start_up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691680" y="5517232"/>
            <a:ext cx="751102" cy="4698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7" name="Группа 2"/>
          <p:cNvGrpSpPr/>
          <p:nvPr/>
        </p:nvGrpSpPr>
        <p:grpSpPr>
          <a:xfrm>
            <a:off x="1691680" y="2996952"/>
            <a:ext cx="648072" cy="622675"/>
            <a:chOff x="2275003" y="3098149"/>
            <a:chExt cx="911489" cy="719137"/>
          </a:xfrm>
        </p:grpSpPr>
        <p:pic>
          <p:nvPicPr>
            <p:cNvPr id="8" name="Picture 20" descr="D:\Go\20110530_Сбербанк\Презентация\Материалы\heyhey.ru_City_iconset_PNG\City_iconset_PNG\bridge.png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5003" y="3098149"/>
              <a:ext cx="779065" cy="719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7" descr="\\volkov-7\Exchange\icons razdel\Иконки\Трактор и свинка\Трактор.png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9917" y="3307698"/>
              <a:ext cx="5365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Прямоугольник 10"/>
          <p:cNvSpPr/>
          <p:nvPr>
            <p:custDataLst>
              <p:tags r:id="rId2"/>
            </p:custDataLst>
          </p:nvPr>
        </p:nvSpPr>
        <p:spPr>
          <a:xfrm>
            <a:off x="7596336" y="1628800"/>
            <a:ext cx="1477134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мбинированные схемы финансирования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3"/>
            </p:custDataLst>
          </p:nvPr>
        </p:nvSpPr>
        <p:spPr>
          <a:xfrm>
            <a:off x="6012160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нцессии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4"/>
            </p:custDataLst>
          </p:nvPr>
        </p:nvSpPr>
        <p:spPr>
          <a:xfrm>
            <a:off x="4427984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оектное финансирование с госучастием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5"/>
            </p:custDataLst>
          </p:nvPr>
        </p:nvSpPr>
        <p:spPr>
          <a:xfrm>
            <a:off x="4427984" y="836712"/>
            <a:ext cx="4608512" cy="29185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ипы финансовых продуктов</a:t>
            </a:r>
          </a:p>
        </p:txBody>
      </p:sp>
      <p:sp>
        <p:nvSpPr>
          <p:cNvPr id="15" name="Прямоугольник 14"/>
          <p:cNvSpPr/>
          <p:nvPr>
            <p:custDataLst>
              <p:tags r:id="rId6"/>
            </p:custDataLst>
          </p:nvPr>
        </p:nvSpPr>
        <p:spPr>
          <a:xfrm>
            <a:off x="2630035" y="1628800"/>
            <a:ext cx="1725941" cy="46166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меры</a:t>
            </a:r>
            <a:endParaRPr lang="en-US" sz="1300" b="1" dirty="0" smtClean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7"/>
            </p:custDataLst>
          </p:nvPr>
        </p:nvSpPr>
        <p:spPr>
          <a:xfrm>
            <a:off x="107504" y="1196752"/>
            <a:ext cx="4216176" cy="37269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оритетные сектора экономики</a:t>
            </a:r>
            <a:endParaRPr lang="ru-RU" sz="13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8"/>
            </p:custDataLst>
          </p:nvPr>
        </p:nvSpPr>
        <p:spPr>
          <a:xfrm>
            <a:off x="107505" y="2420888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циальные </a:t>
            </a: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екторы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2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39752" y="2204864"/>
            <a:ext cx="2016224" cy="68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дравоохран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оциальные учреждения</a:t>
            </a:r>
            <a:endParaRPr lang="en-US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39752" y="3068960"/>
            <a:ext cx="18214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Логистические центры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ромышленные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арк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ороги и 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рямоугольник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39752" y="3789040"/>
            <a:ext cx="208823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Водоснабжение, водоотвед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Отопл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ереработка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ходов и 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339752" y="4797152"/>
            <a:ext cx="216024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Генерация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ет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Энергоэффективность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и пр. </a:t>
            </a:r>
          </a:p>
        </p:txBody>
      </p:sp>
      <p:sp>
        <p:nvSpPr>
          <p:cNvPr id="22" name="Прямоугольник 2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11760" y="5517232"/>
            <a:ext cx="18214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епличные хозяйств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тицефабрики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4"/>
            </p:custDataLst>
          </p:nvPr>
        </p:nvSpPr>
        <p:spPr>
          <a:xfrm>
            <a:off x="107505" y="3212976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фраструктура</a:t>
            </a:r>
          </a:p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ранспорт</a:t>
            </a:r>
          </a:p>
        </p:txBody>
      </p:sp>
      <p:sp>
        <p:nvSpPr>
          <p:cNvPr id="24" name="Прямоугольник 23"/>
          <p:cNvSpPr/>
          <p:nvPr>
            <p:custDataLst>
              <p:tags r:id="rId15"/>
            </p:custDataLst>
          </p:nvPr>
        </p:nvSpPr>
        <p:spPr>
          <a:xfrm>
            <a:off x="107505" y="3933056"/>
            <a:ext cx="1368151" cy="512961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ЖКХ</a:t>
            </a:r>
          </a:p>
        </p:txBody>
      </p:sp>
      <p:sp>
        <p:nvSpPr>
          <p:cNvPr id="25" name="Прямоугольник 24"/>
          <p:cNvSpPr/>
          <p:nvPr>
            <p:custDataLst>
              <p:tags r:id="rId16"/>
            </p:custDataLst>
          </p:nvPr>
        </p:nvSpPr>
        <p:spPr>
          <a:xfrm>
            <a:off x="107505" y="479715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нергетика</a:t>
            </a:r>
          </a:p>
        </p:txBody>
      </p:sp>
      <p:sp>
        <p:nvSpPr>
          <p:cNvPr id="26" name="Прямоугольник 25"/>
          <p:cNvSpPr/>
          <p:nvPr>
            <p:custDataLst>
              <p:tags r:id="rId17"/>
            </p:custDataLst>
          </p:nvPr>
        </p:nvSpPr>
        <p:spPr>
          <a:xfrm>
            <a:off x="107505" y="554923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П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 bwMode="auto">
          <a:xfrm>
            <a:off x="4655212" y="2986335"/>
            <a:ext cx="432290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4655212" y="356879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4655212" y="415125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4655212" y="473371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4655212" y="531617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4655212" y="589863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 flipV="1">
            <a:off x="4427984" y="6481099"/>
            <a:ext cx="4550134" cy="26026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/>
        </p:nvCxnSpPr>
        <p:spPr bwMode="auto">
          <a:xfrm flipV="1">
            <a:off x="4655212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/>
        </p:nvCxnSpPr>
        <p:spPr bwMode="auto">
          <a:xfrm flipV="1">
            <a:off x="8964613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/>
        </p:nvCxnSpPr>
        <p:spPr bwMode="auto">
          <a:xfrm flipV="1">
            <a:off x="6092208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 flipV="1">
            <a:off x="7527617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рямоугольник 37"/>
          <p:cNvSpPr/>
          <p:nvPr>
            <p:custDataLst>
              <p:tags r:id="rId18"/>
            </p:custDataLst>
          </p:nvPr>
        </p:nvSpPr>
        <p:spPr>
          <a:xfrm>
            <a:off x="107505" y="6197304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оритетные сектора</a:t>
            </a:r>
          </a:p>
        </p:txBody>
      </p:sp>
      <p:sp>
        <p:nvSpPr>
          <p:cNvPr id="39" name="Прямоугольник 2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411760" y="6021288"/>
            <a:ext cx="1821467" cy="866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Инновационная экономика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мышленность прочие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" name="Picture 4"/>
          <p:cNvPicPr>
            <a:picLocks noChangeAspect="1" noChangeArrowheads="1"/>
          </p:cNvPicPr>
          <p:nvPr/>
        </p:nvPicPr>
        <p:blipFill rotWithShape="1"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91680" y="6237312"/>
            <a:ext cx="627514" cy="4127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Овал 19"/>
          <p:cNvSpPr>
            <a:spLocks noChangeArrowheads="1"/>
          </p:cNvSpPr>
          <p:nvPr/>
        </p:nvSpPr>
        <p:spPr bwMode="auto">
          <a:xfrm>
            <a:off x="4932040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2" name="Овал 19"/>
          <p:cNvSpPr>
            <a:spLocks noChangeArrowheads="1"/>
          </p:cNvSpPr>
          <p:nvPr/>
        </p:nvSpPr>
        <p:spPr bwMode="auto">
          <a:xfrm>
            <a:off x="6516216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3" name="Овал 19"/>
          <p:cNvSpPr>
            <a:spLocks noChangeArrowheads="1"/>
          </p:cNvSpPr>
          <p:nvPr/>
        </p:nvSpPr>
        <p:spPr bwMode="auto">
          <a:xfrm>
            <a:off x="4932040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4" name="Овал 19"/>
          <p:cNvSpPr>
            <a:spLocks noChangeArrowheads="1"/>
          </p:cNvSpPr>
          <p:nvPr/>
        </p:nvSpPr>
        <p:spPr bwMode="auto">
          <a:xfrm>
            <a:off x="4932040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5" name="Овал 19"/>
          <p:cNvSpPr>
            <a:spLocks noChangeArrowheads="1"/>
          </p:cNvSpPr>
          <p:nvPr/>
        </p:nvSpPr>
        <p:spPr bwMode="auto">
          <a:xfrm>
            <a:off x="8128403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6" name="Овал 19"/>
          <p:cNvSpPr>
            <a:spLocks noChangeArrowheads="1"/>
          </p:cNvSpPr>
          <p:nvPr/>
        </p:nvSpPr>
        <p:spPr bwMode="auto">
          <a:xfrm>
            <a:off x="4932040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7" name="Овал 19"/>
          <p:cNvSpPr>
            <a:spLocks noChangeArrowheads="1"/>
          </p:cNvSpPr>
          <p:nvPr/>
        </p:nvSpPr>
        <p:spPr bwMode="auto">
          <a:xfrm>
            <a:off x="6588224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8" name="Овал 19"/>
          <p:cNvSpPr>
            <a:spLocks noChangeArrowheads="1"/>
          </p:cNvSpPr>
          <p:nvPr/>
        </p:nvSpPr>
        <p:spPr bwMode="auto">
          <a:xfrm>
            <a:off x="6588224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9" name="Овал 19"/>
          <p:cNvSpPr>
            <a:spLocks noChangeArrowheads="1"/>
          </p:cNvSpPr>
          <p:nvPr/>
        </p:nvSpPr>
        <p:spPr bwMode="auto">
          <a:xfrm>
            <a:off x="8128403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0" name="Овал 19"/>
          <p:cNvSpPr>
            <a:spLocks noChangeArrowheads="1"/>
          </p:cNvSpPr>
          <p:nvPr/>
        </p:nvSpPr>
        <p:spPr bwMode="auto">
          <a:xfrm>
            <a:off x="4932040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1" name="Овал 19"/>
          <p:cNvSpPr>
            <a:spLocks noChangeArrowheads="1"/>
          </p:cNvSpPr>
          <p:nvPr/>
        </p:nvSpPr>
        <p:spPr bwMode="auto">
          <a:xfrm>
            <a:off x="4932040" y="566124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2" name="Овал 19"/>
          <p:cNvSpPr>
            <a:spLocks noChangeArrowheads="1"/>
          </p:cNvSpPr>
          <p:nvPr/>
        </p:nvSpPr>
        <p:spPr bwMode="auto">
          <a:xfrm>
            <a:off x="8128403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5" name="Заголовок 54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449920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83568" y="188640"/>
            <a:ext cx="3878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Категории инвестиционных проектов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016" y="188640"/>
            <a:ext cx="7602408" cy="366522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Схема финансирования инвестиционного проекта </a:t>
            </a:r>
            <a:endParaRPr lang="ru-RU" sz="1600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AutoShape 45"/>
          <p:cNvSpPr>
            <a:spLocks noChangeArrowheads="1"/>
          </p:cNvSpPr>
          <p:nvPr/>
        </p:nvSpPr>
        <p:spPr bwMode="auto">
          <a:xfrm>
            <a:off x="3995936" y="836712"/>
            <a:ext cx="3024336" cy="823913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endParaRPr lang="en-US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1 – учреждение компании-Заемщика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Инициатором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 и Инвестором и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внесение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воих долей участия</a:t>
            </a:r>
          </a:p>
          <a:p>
            <a:pPr algn="ctr"/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 Box 148"/>
          <p:cNvSpPr txBox="1">
            <a:spLocks noChangeArrowheads="1"/>
          </p:cNvSpPr>
          <p:nvPr/>
        </p:nvSpPr>
        <p:spPr bwMode="auto">
          <a:xfrm>
            <a:off x="3370474" y="3117968"/>
            <a:ext cx="409290" cy="4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10800000" anchor="ctr"/>
          <a:lstStyle/>
          <a:p>
            <a:pPr algn="ctr"/>
            <a:endParaRPr lang="ru-RU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Rectangle 36"/>
          <p:cNvSpPr>
            <a:spLocks noChangeArrowheads="1"/>
          </p:cNvSpPr>
          <p:nvPr/>
        </p:nvSpPr>
        <p:spPr bwMode="auto">
          <a:xfrm>
            <a:off x="4860032" y="2492896"/>
            <a:ext cx="1422400" cy="77038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емщик</a:t>
            </a:r>
          </a:p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SPV)</a:t>
            </a:r>
            <a:endParaRPr lang="ru-RU" sz="1400" b="1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auto">
          <a:xfrm>
            <a:off x="3923928" y="1772816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ложение от 10% </a:t>
            </a:r>
            <a:endParaRPr lang="en-US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Rectangle 36"/>
          <p:cNvSpPr>
            <a:spLocks noChangeArrowheads="1"/>
          </p:cNvSpPr>
          <p:nvPr/>
        </p:nvSpPr>
        <p:spPr bwMode="auto">
          <a:xfrm>
            <a:off x="5436096" y="1772816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30% </a:t>
            </a:r>
            <a:endParaRPr lang="en-US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Штриховая стрелка вправо 3"/>
          <p:cNvSpPr/>
          <p:nvPr/>
        </p:nvSpPr>
        <p:spPr>
          <a:xfrm flipH="1">
            <a:off x="1475656" y="2564904"/>
            <a:ext cx="3168352" cy="144016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Rectangle 36"/>
          <p:cNvSpPr>
            <a:spLocks noChangeArrowheads="1"/>
          </p:cNvSpPr>
          <p:nvPr/>
        </p:nvSpPr>
        <p:spPr bwMode="auto">
          <a:xfrm>
            <a:off x="467544" y="2924944"/>
            <a:ext cx="1388616" cy="47941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правляющая компания</a:t>
            </a:r>
          </a:p>
        </p:txBody>
      </p:sp>
      <p:sp>
        <p:nvSpPr>
          <p:cNvPr id="29" name="Rectangle 36"/>
          <p:cNvSpPr>
            <a:spLocks noChangeArrowheads="1"/>
          </p:cNvSpPr>
          <p:nvPr/>
        </p:nvSpPr>
        <p:spPr bwMode="auto">
          <a:xfrm>
            <a:off x="467544" y="3501008"/>
            <a:ext cx="1368152" cy="72008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Rectangle 36"/>
          <p:cNvSpPr>
            <a:spLocks noChangeArrowheads="1"/>
          </p:cNvSpPr>
          <p:nvPr/>
        </p:nvSpPr>
        <p:spPr bwMode="auto">
          <a:xfrm>
            <a:off x="467544" y="4290169"/>
            <a:ext cx="1368152" cy="50698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аховая компания</a:t>
            </a:r>
          </a:p>
        </p:txBody>
      </p:sp>
      <p:sp>
        <p:nvSpPr>
          <p:cNvPr id="31" name="AutoShape 45"/>
          <p:cNvSpPr>
            <a:spLocks noChangeArrowheads="1"/>
          </p:cNvSpPr>
          <p:nvPr/>
        </p:nvSpPr>
        <p:spPr bwMode="auto">
          <a:xfrm>
            <a:off x="1979712" y="2708920"/>
            <a:ext cx="2664296" cy="288032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2 –заключение договора  управление</a:t>
            </a: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AutoShape 45"/>
          <p:cNvSpPr>
            <a:spLocks noChangeArrowheads="1"/>
          </p:cNvSpPr>
          <p:nvPr/>
        </p:nvSpPr>
        <p:spPr bwMode="auto">
          <a:xfrm>
            <a:off x="107504" y="764704"/>
            <a:ext cx="3672408" cy="1152128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algn="just"/>
            <a:endParaRPr lang="en-US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>
              <a:spcBef>
                <a:spcPct val="0"/>
              </a:spcBef>
              <a:buClr>
                <a:srgbClr val="008A53"/>
              </a:buClr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 договору УК обеспечивает:</a:t>
            </a:r>
          </a:p>
          <a:p>
            <a:pPr marL="171450" lvl="1" indent="-171450" algn="just">
              <a:spcBef>
                <a:spcPct val="0"/>
              </a:spcBef>
              <a:buClr>
                <a:srgbClr val="008A53"/>
              </a:buClr>
              <a:buFont typeface="Arial"/>
              <a:buChar char="•"/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оставление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и ведение дорожной инвестиционной </a:t>
            </a:r>
            <a:endParaRPr lang="ru-RU" sz="11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>
              <a:spcBef>
                <a:spcPct val="0"/>
              </a:spcBef>
              <a:buClr>
                <a:srgbClr val="008A53"/>
              </a:buClr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арты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 проекту;</a:t>
            </a:r>
          </a:p>
          <a:p>
            <a:pPr marL="88900" lvl="1" indent="-88900" algn="just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работка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рынка сбыта, наполнение контрактной базы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;</a:t>
            </a: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Двойная стрелка вверх/вниз 33"/>
          <p:cNvSpPr/>
          <p:nvPr/>
        </p:nvSpPr>
        <p:spPr>
          <a:xfrm>
            <a:off x="1259632" y="2348880"/>
            <a:ext cx="216024" cy="576064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677967" y="401385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Штриховая стрелка вправо 35"/>
          <p:cNvSpPr/>
          <p:nvPr/>
        </p:nvSpPr>
        <p:spPr>
          <a:xfrm rot="20253676" flipH="1">
            <a:off x="2012087" y="3706196"/>
            <a:ext cx="2755164" cy="156937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Rectangle 33"/>
          <p:cNvSpPr>
            <a:spLocks noChangeArrowheads="1"/>
          </p:cNvSpPr>
          <p:nvPr/>
        </p:nvSpPr>
        <p:spPr bwMode="auto">
          <a:xfrm>
            <a:off x="5508104" y="5229200"/>
            <a:ext cx="1466850" cy="10795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едитор</a:t>
            </a:r>
          </a:p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</a:t>
            </a: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0% </a:t>
            </a:r>
            <a:endParaRPr lang="en-US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Двойная стрелка вверх/вниз 38"/>
          <p:cNvSpPr/>
          <p:nvPr/>
        </p:nvSpPr>
        <p:spPr>
          <a:xfrm>
            <a:off x="5652120" y="3284984"/>
            <a:ext cx="288032" cy="1872208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AutoShape 45"/>
          <p:cNvSpPr>
            <a:spLocks noChangeArrowheads="1"/>
          </p:cNvSpPr>
          <p:nvPr/>
        </p:nvSpPr>
        <p:spPr bwMode="auto">
          <a:xfrm rot="5400000">
            <a:off x="3671901" y="4833157"/>
            <a:ext cx="3168350" cy="360040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 algn="ctr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едоставления обеспечения по кредиту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AutoShape 45"/>
          <p:cNvSpPr>
            <a:spLocks noChangeArrowheads="1"/>
          </p:cNvSpPr>
          <p:nvPr/>
        </p:nvSpPr>
        <p:spPr bwMode="auto">
          <a:xfrm rot="5400000">
            <a:off x="5436096" y="4005064"/>
            <a:ext cx="1800200" cy="504056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5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учение кредита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Rectangle 38"/>
          <p:cNvSpPr>
            <a:spLocks noChangeArrowheads="1"/>
          </p:cNvSpPr>
          <p:nvPr/>
        </p:nvSpPr>
        <p:spPr bwMode="auto">
          <a:xfrm>
            <a:off x="2267744" y="5157192"/>
            <a:ext cx="1754882" cy="155575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sz="12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Залог имущественных прав  на объекты (впоследствии готовые объекты), создаваемые в рамках инвестиционного </a:t>
            </a:r>
            <a:r>
              <a:rPr lang="ru-RU" sz="12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3" name="Прямая со стрелкой 116"/>
          <p:cNvCxnSpPr>
            <a:cxnSpLocks noChangeShapeType="1"/>
          </p:cNvCxnSpPr>
          <p:nvPr/>
        </p:nvCxnSpPr>
        <p:spPr bwMode="auto">
          <a:xfrm>
            <a:off x="4211960" y="5373216"/>
            <a:ext cx="731196" cy="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sp>
        <p:nvSpPr>
          <p:cNvPr id="46" name="Rectangle 27"/>
          <p:cNvSpPr>
            <a:spLocks noChangeArrowheads="1"/>
          </p:cNvSpPr>
          <p:nvPr/>
        </p:nvSpPr>
        <p:spPr bwMode="auto">
          <a:xfrm>
            <a:off x="7147805" y="908720"/>
            <a:ext cx="1816683" cy="5544616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ДАЛЬНЕЙШИЕ  действия</a:t>
            </a: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еречисление средств за выполненные работы  Техзакзчику</a:t>
            </a:r>
          </a:p>
          <a:p>
            <a:pPr algn="just">
              <a:lnSpc>
                <a:spcPct val="95000"/>
              </a:lnSpc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дача объектов в аренду Инициатору и получение арендной платы (Источником арендной платы будет являться выручка от эксплуатации построенных в рамках проекта объектов, эффективность использования которых отражается в финансовом плане проекта)</a:t>
            </a:r>
          </a:p>
          <a:p>
            <a:pPr marL="193675" indent="-193675" algn="just">
              <a:lnSpc>
                <a:spcPct val="95000"/>
              </a:lnSpc>
            </a:pPr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а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эксплуатация объектов Инициатором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погашение кредита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выплаты для Инвестора (происходят только после </a:t>
            </a: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ного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гашения кредита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Штриховая стрелка вправо 46"/>
          <p:cNvSpPr/>
          <p:nvPr/>
        </p:nvSpPr>
        <p:spPr>
          <a:xfrm rot="10800000" flipH="1">
            <a:off x="6300192" y="2708920"/>
            <a:ext cx="792088" cy="216024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yGlM7QSEGrZVDKm8gx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QJY_LyIUCLo5ORYbyZ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xEVvIfQUOrRTnfQGOV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hSJkj6Lk2X37.s_66P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g5hH19FUKl4IKs_WAz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h50PZvbU2ajD2cS3SH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7mQBIXi0aSxn1EAy__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OKc0Gpdk6UbKMGsn3B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hoPc8v1U2mm8eYWL5M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FK.lsvEmNjwBZy_vd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LPaDBlTkO1ws54N1Fx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0kaGdUvE.mEfAn0_5f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xGY.oG0O32cHklxLv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w3KW.CUy6xiUzY51K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DOB6CgJEWU0mb_UndW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ll82uMk0uveuOmlutX0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nlUT7plUGhiL6RMy0g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vcetUjMUCaMTo9xkWk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X.snqLTUOXQDcHjMtp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K8nqnJuUyeJSEantD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nsrrKl7kiaDqkogTkb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wZL3G6_02kYy..FMth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xhPHS2kq_V1YnzP18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r97YgbkSFD5WLNOwf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qpyp48q0.EUVutfIe_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gn7jfnhEatUZjfU3us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wY7pfe2kWVmW1lAtP1C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00</TotalTime>
  <Words>1984</Words>
  <Application>Microsoft Office PowerPoint</Application>
  <PresentationFormat>Экран (4:3)</PresentationFormat>
  <Paragraphs>537</Paragraphs>
  <Slides>19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1_Тема Office</vt:lpstr>
      <vt:lpstr>2_Тема Office</vt:lpstr>
      <vt:lpstr>  Инструменты реализации долгосрочных инвестиционных проектов на базе регламента  «Инвестиционные проекты с гос. поддержкой и гос. участием»  на основе проектного финансирования в Республике Татарстан  </vt:lpstr>
      <vt:lpstr>Презентация PowerPoint</vt:lpstr>
      <vt:lpstr>Презентация PowerPoint</vt:lpstr>
      <vt:lpstr>Координация основных участников инвестпроцеcса </vt:lpstr>
      <vt:lpstr>Презентация PowerPoint</vt:lpstr>
      <vt:lpstr>Особые условия финансирования </vt:lpstr>
      <vt:lpstr>             Какие проекты могут быть заявлены на Конкурс</vt:lpstr>
      <vt:lpstr>7</vt:lpstr>
      <vt:lpstr>Схема финансирования инвестиционного проекта </vt:lpstr>
      <vt:lpstr>    Преимущества реализации проектов «с нуля» в рамках Конкурса</vt:lpstr>
      <vt:lpstr>          Процедура рассмотрение инвестиционных проектов в рамках  Конкурса </vt:lpstr>
      <vt:lpstr> Процедура рассмотрения региональных инвестиционных проектов по «Схеме взаимодействия при реализации инвестиционных проектов с гос. поддержкой / гос. участием», утвержденной № __ Сбербанк России для реализации в соответствии с Постановлением Правительства № 1044 от 11.10.2014</vt:lpstr>
      <vt:lpstr>          Периодичность и сроки рассмотрения инвестиционных проектов</vt:lpstr>
      <vt:lpstr>12</vt:lpstr>
      <vt:lpstr>13</vt:lpstr>
      <vt:lpstr>14</vt:lpstr>
      <vt:lpstr>Принципы формирования Попечительского Совета</vt:lpstr>
      <vt:lpstr>Текущие результаты работы Конкурса</vt:lpstr>
      <vt:lpstr>Презентаци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Юрий Кваша</cp:lastModifiedBy>
  <cp:revision>297</cp:revision>
  <cp:lastPrinted>2015-03-03T10:46:27Z</cp:lastPrinted>
  <dcterms:created xsi:type="dcterms:W3CDTF">2014-11-17T08:55:10Z</dcterms:created>
  <dcterms:modified xsi:type="dcterms:W3CDTF">2015-03-31T11:06:05Z</dcterms:modified>
</cp:coreProperties>
</file>